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tl="1" saveSubsetFonts="1">
  <p:sldMasterIdLst>
    <p:sldMasterId id="2147483660" r:id="rId1"/>
  </p:sldMasterIdLst>
  <p:notesMasterIdLst>
    <p:notesMasterId r:id="rId7"/>
  </p:notesMasterIdLst>
  <p:sldIdLst>
    <p:sldId id="257" r:id="rId2"/>
    <p:sldId id="1661" r:id="rId3"/>
    <p:sldId id="1662" r:id="rId4"/>
    <p:sldId id="315" r:id="rId5"/>
    <p:sldId id="320" r:id="rId6"/>
  </p:sldIdLst>
  <p:sldSz cx="12192000" cy="6858000"/>
  <p:notesSz cx="6858000" cy="9144000"/>
  <p:defaultTextStyle>
    <a:defPPr>
      <a:defRPr lang="en-US"/>
    </a:defPPr>
    <a:lvl1pPr marL="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5005" autoAdjust="0"/>
    <p:restoredTop sz="94660"/>
  </p:normalViewPr>
  <p:slideViewPr>
    <p:cSldViewPr snapToGrid="0">
      <p:cViewPr varScale="1">
        <p:scale>
          <a:sx n="100" d="100"/>
          <a:sy n="100" d="100"/>
        </p:scale>
        <p:origin x="456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כותרת עליונה 1"/>
          <p:cNvSpPr>
            <a:spLocks noGrp="1"/>
          </p:cNvSpPr>
          <p:nvPr>
            <p:ph type="hdr" sz="quarter"/>
          </p:nvPr>
        </p:nvSpPr>
        <p:spPr>
          <a:xfrm>
            <a:off x="388620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1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מציין מיקום של תאריך 2"/>
          <p:cNvSpPr>
            <a:spLocks noGrp="1"/>
          </p:cNvSpPr>
          <p:nvPr>
            <p:ph type="dt" idx="1"/>
          </p:nvPr>
        </p:nvSpPr>
        <p:spPr>
          <a:xfrm>
            <a:off x="1588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1"/>
          <a:lstStyle>
            <a:lvl1pPr algn="r">
              <a:defRPr sz="1200"/>
            </a:lvl1pPr>
          </a:lstStyle>
          <a:p>
            <a:fld id="{10CE472A-71C1-4DB8-83A6-707E073C760F}" type="datetimeFigureOut">
              <a:rPr lang="en-US" smtClean="0"/>
              <a:t>9/29/2022</a:t>
            </a:fld>
            <a:endParaRPr lang="en-US"/>
          </a:p>
        </p:txBody>
      </p:sp>
      <p:sp>
        <p:nvSpPr>
          <p:cNvPr id="4" name="מציין מיקום של תמונת שקופית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1" anchor="ctr"/>
          <a:lstStyle/>
          <a:p>
            <a:endParaRPr lang="en-US"/>
          </a:p>
        </p:txBody>
      </p:sp>
      <p:sp>
        <p:nvSpPr>
          <p:cNvPr id="5" name="מציין מיקום של הערות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1"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  <a:endParaRPr lang="en-US"/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4"/>
          </p:nvPr>
        </p:nvSpPr>
        <p:spPr>
          <a:xfrm>
            <a:off x="388620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1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5"/>
          </p:nvPr>
        </p:nvSpPr>
        <p:spPr>
          <a:xfrm>
            <a:off x="1588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1" anchor="b"/>
          <a:lstStyle>
            <a:lvl1pPr algn="r">
              <a:defRPr sz="1200"/>
            </a:lvl1pPr>
          </a:lstStyle>
          <a:p>
            <a:fld id="{C1C2FBA6-329E-4740-A1DF-92027989D3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77618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457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/>
          </a:p>
        </p:txBody>
      </p:sp>
      <p:sp>
        <p:nvSpPr>
          <p:cNvPr id="24579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6C2A68D4-87B6-406D-B19A-9B0FB8646D53}" type="slidenum">
              <a:rPr lang="he-IL" smtClean="0"/>
              <a:pPr/>
              <a:t>1</a:t>
            </a:fld>
            <a:endParaRPr lang="en-GB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sv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A6D3C6C-C781-4A71-8DBC-B8D105CE1D89}"/>
              </a:ext>
            </a:extLst>
          </p:cNvPr>
          <p:cNvSpPr/>
          <p:nvPr userDrawn="1"/>
        </p:nvSpPr>
        <p:spPr bwMode="ltGray">
          <a:xfrm>
            <a:off x="0" y="4031096"/>
            <a:ext cx="12192000" cy="2445102"/>
          </a:xfrm>
          <a:prstGeom prst="rect">
            <a:avLst/>
          </a:prstGeom>
          <a:solidFill>
            <a:schemeClr val="accent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9425" y="2740894"/>
            <a:ext cx="9540000" cy="2387600"/>
          </a:xfrm>
        </p:spPr>
        <p:txBody>
          <a:bodyPr anchor="b">
            <a:noAutofit/>
          </a:bodyPr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9425" y="5377300"/>
            <a:ext cx="9540000" cy="715525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extruta 10">
            <a:extLst>
              <a:ext uri="{FF2B5EF4-FFF2-40B4-BE49-F238E27FC236}">
                <a16:creationId xmlns:a16="http://schemas.microsoft.com/office/drawing/2014/main" id="{CFBD2188-A43E-4247-B784-A5C7574E1F46}"/>
              </a:ext>
            </a:extLst>
          </p:cNvPr>
          <p:cNvSpPr txBox="1"/>
          <p:nvPr userDrawn="1"/>
        </p:nvSpPr>
        <p:spPr>
          <a:xfrm>
            <a:off x="3551595" y="-358022"/>
            <a:ext cx="5088811" cy="27699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en-US" sz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rPr>
              <a:t>Use the Picture Library to insert a picture into the background.</a:t>
            </a:r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C385A593-6682-4EDE-949E-FC3C7132AD3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479425" y="6581731"/>
            <a:ext cx="2589619" cy="16255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B7581FF-0643-47A1-8D7B-CBC100CA9EC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79425" y="771525"/>
            <a:ext cx="3201979" cy="622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8212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Full P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79425" y="1808162"/>
            <a:ext cx="5220000" cy="43211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92575" y="441325"/>
            <a:ext cx="5220000" cy="56880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-xx-xx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1617BE-BA58-4B59-88D5-A8C7B239E913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ruta 10">
            <a:extLst>
              <a:ext uri="{FF2B5EF4-FFF2-40B4-BE49-F238E27FC236}">
                <a16:creationId xmlns:a16="http://schemas.microsoft.com/office/drawing/2014/main" id="{531FA636-9C67-4ECD-8E2E-26D8753C5A80}"/>
              </a:ext>
            </a:extLst>
          </p:cNvPr>
          <p:cNvSpPr txBox="1"/>
          <p:nvPr userDrawn="1"/>
        </p:nvSpPr>
        <p:spPr>
          <a:xfrm>
            <a:off x="3551595" y="-358022"/>
            <a:ext cx="5088811" cy="27699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en-US" sz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rPr>
              <a:t>Use the Picture Library to insert a picture into the background.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1163B8A-4C81-4483-BCC7-9E15609F9A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53772"/>
            <a:ext cx="5220000" cy="900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046139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Pic 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79425" y="1808162"/>
            <a:ext cx="5220000" cy="43211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7D2CFEB-18F1-4991-96CA-9523CF97398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5999" y="0"/>
            <a:ext cx="6096000" cy="6426001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-xx-xx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1617BE-BA58-4B59-88D5-A8C7B239E913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5B5DE62-4482-4AEA-9C5A-612E749B8F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53772"/>
            <a:ext cx="5220000" cy="900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563820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Grey R">
    <p:bg>
      <p:bgPr>
        <a:solidFill>
          <a:srgbClr val="E7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6080DA2-90D2-4DB1-8328-FEBEC6F62116}"/>
              </a:ext>
            </a:extLst>
          </p:cNvPr>
          <p:cNvSpPr/>
          <p:nvPr userDrawn="1"/>
        </p:nvSpPr>
        <p:spPr bwMode="white">
          <a:xfrm>
            <a:off x="0" y="0"/>
            <a:ext cx="6096000" cy="6426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79425" y="1808162"/>
            <a:ext cx="5220000" cy="43211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92575" y="453772"/>
            <a:ext cx="5220000" cy="567556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-xx-xx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1617BE-BA58-4B59-88D5-A8C7B239E913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ruta 10">
            <a:extLst>
              <a:ext uri="{FF2B5EF4-FFF2-40B4-BE49-F238E27FC236}">
                <a16:creationId xmlns:a16="http://schemas.microsoft.com/office/drawing/2014/main" id="{8348DBCC-3D09-46F2-807A-5CE6C499C89D}"/>
              </a:ext>
            </a:extLst>
          </p:cNvPr>
          <p:cNvSpPr txBox="1"/>
          <p:nvPr userDrawn="1"/>
        </p:nvSpPr>
        <p:spPr>
          <a:xfrm>
            <a:off x="438778" y="-358022"/>
            <a:ext cx="11314444" cy="27699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en-US" sz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rPr>
              <a:t>To change color of the colored box </a:t>
            </a:r>
            <a:r>
              <a:rPr lang="en-US" sz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rPr>
              <a:t>– Right-click on an empty space. Choose </a:t>
            </a:r>
            <a:r>
              <a:rPr lang="en-US" sz="1200" b="1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rPr>
              <a:t>Format background/Fill/Solid Fill </a:t>
            </a:r>
            <a:r>
              <a:rPr lang="en-US" sz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rPr>
              <a:t>and choose preferred color.</a:t>
            </a:r>
            <a:endParaRPr lang="en-US" sz="1200">
              <a:solidFill>
                <a:schemeClr val="tx1">
                  <a:lumMod val="65000"/>
                  <a:lumOff val="35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6F3A5904-4335-4331-9067-C4CA3BF884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53772"/>
            <a:ext cx="5220000" cy="900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387532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lue 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6080DA2-90D2-4DB1-8328-FEBEC6F62116}"/>
              </a:ext>
            </a:extLst>
          </p:cNvPr>
          <p:cNvSpPr/>
          <p:nvPr userDrawn="1"/>
        </p:nvSpPr>
        <p:spPr bwMode="white">
          <a:xfrm>
            <a:off x="0" y="0"/>
            <a:ext cx="6096000" cy="6426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79425" y="1808162"/>
            <a:ext cx="5220000" cy="43211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92575" y="453772"/>
            <a:ext cx="5220000" cy="567556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-xx-xx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1617BE-BA58-4B59-88D5-A8C7B239E913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ruta 10">
            <a:extLst>
              <a:ext uri="{FF2B5EF4-FFF2-40B4-BE49-F238E27FC236}">
                <a16:creationId xmlns:a16="http://schemas.microsoft.com/office/drawing/2014/main" id="{902B20C1-D301-4035-8DC6-D7F56E188B54}"/>
              </a:ext>
            </a:extLst>
          </p:cNvPr>
          <p:cNvSpPr txBox="1"/>
          <p:nvPr userDrawn="1"/>
        </p:nvSpPr>
        <p:spPr>
          <a:xfrm>
            <a:off x="438778" y="-358022"/>
            <a:ext cx="11314444" cy="27699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en-US" sz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rPr>
              <a:t>To change color of the colored box </a:t>
            </a:r>
            <a:r>
              <a:rPr lang="en-US" sz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rPr>
              <a:t>– Right-click on an empty space. Choose </a:t>
            </a:r>
            <a:r>
              <a:rPr lang="en-US" sz="1200" b="1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rPr>
              <a:t>Format background/Fill/Solid Fill </a:t>
            </a:r>
            <a:r>
              <a:rPr lang="en-US" sz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rPr>
              <a:t>and choose preferred color.</a:t>
            </a:r>
            <a:endParaRPr lang="en-US" sz="1200">
              <a:solidFill>
                <a:schemeClr val="tx1">
                  <a:lumMod val="65000"/>
                  <a:lumOff val="35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84627097-727F-4137-8430-122F902F1B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53771"/>
            <a:ext cx="5220000" cy="900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117571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Pic 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492575" y="1808162"/>
            <a:ext cx="5220000" cy="43211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7D2CFEB-18F1-4991-96CA-9523CF97398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426001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-xx-xx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1617BE-BA58-4B59-88D5-A8C7B239E913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D162CD8-2020-4B3C-B750-4DDC0FAA8E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2573" y="453772"/>
            <a:ext cx="5220001" cy="900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510547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Grey L">
    <p:bg>
      <p:bgPr>
        <a:solidFill>
          <a:srgbClr val="E7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6080DA2-90D2-4DB1-8328-FEBEC6F62116}"/>
              </a:ext>
            </a:extLst>
          </p:cNvPr>
          <p:cNvSpPr/>
          <p:nvPr userDrawn="1"/>
        </p:nvSpPr>
        <p:spPr bwMode="white">
          <a:xfrm>
            <a:off x="6096000" y="0"/>
            <a:ext cx="6096000" cy="6426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492575" y="1808162"/>
            <a:ext cx="5220000" cy="43211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79425" y="453771"/>
            <a:ext cx="5220000" cy="567556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-xx-xx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1617BE-BA58-4B59-88D5-A8C7B239E913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ruta 10">
            <a:extLst>
              <a:ext uri="{FF2B5EF4-FFF2-40B4-BE49-F238E27FC236}">
                <a16:creationId xmlns:a16="http://schemas.microsoft.com/office/drawing/2014/main" id="{93687567-EF76-4ACB-AE19-2B676B50FFCE}"/>
              </a:ext>
            </a:extLst>
          </p:cNvPr>
          <p:cNvSpPr txBox="1"/>
          <p:nvPr userDrawn="1"/>
        </p:nvSpPr>
        <p:spPr>
          <a:xfrm>
            <a:off x="438778" y="-358022"/>
            <a:ext cx="11314444" cy="27699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en-US" sz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rPr>
              <a:t>To change color of the colored box </a:t>
            </a:r>
            <a:r>
              <a:rPr lang="en-US" sz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rPr>
              <a:t>– Right-click on an empty space. Choose </a:t>
            </a:r>
            <a:r>
              <a:rPr lang="en-US" sz="1200" b="1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rPr>
              <a:t>Format background/Fill/Solid Fill </a:t>
            </a:r>
            <a:r>
              <a:rPr lang="en-US" sz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rPr>
              <a:t>and choose preferred color.</a:t>
            </a:r>
            <a:endParaRPr lang="en-US" sz="1200">
              <a:solidFill>
                <a:schemeClr val="tx1">
                  <a:lumMod val="65000"/>
                  <a:lumOff val="35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3863AFE3-DAE6-4134-9B04-93F76135D3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2573" y="453772"/>
            <a:ext cx="5220001" cy="900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78954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lue 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6080DA2-90D2-4DB1-8328-FEBEC6F62116}"/>
              </a:ext>
            </a:extLst>
          </p:cNvPr>
          <p:cNvSpPr/>
          <p:nvPr userDrawn="1"/>
        </p:nvSpPr>
        <p:spPr bwMode="white">
          <a:xfrm>
            <a:off x="6096000" y="0"/>
            <a:ext cx="6096000" cy="6426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492575" y="1808162"/>
            <a:ext cx="5220000" cy="43211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79425" y="453772"/>
            <a:ext cx="5220000" cy="567556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-xx-xx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1617BE-BA58-4B59-88D5-A8C7B239E913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ruta 10">
            <a:extLst>
              <a:ext uri="{FF2B5EF4-FFF2-40B4-BE49-F238E27FC236}">
                <a16:creationId xmlns:a16="http://schemas.microsoft.com/office/drawing/2014/main" id="{A91F30F0-0013-4EEF-A1A2-0D0846C77F13}"/>
              </a:ext>
            </a:extLst>
          </p:cNvPr>
          <p:cNvSpPr txBox="1"/>
          <p:nvPr userDrawn="1"/>
        </p:nvSpPr>
        <p:spPr>
          <a:xfrm>
            <a:off x="438778" y="-358022"/>
            <a:ext cx="11314444" cy="27699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en-US" sz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rPr>
              <a:t>To change color of the colored box </a:t>
            </a:r>
            <a:r>
              <a:rPr lang="en-US" sz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rPr>
              <a:t>– Right-click on an empty space. Choose </a:t>
            </a:r>
            <a:r>
              <a:rPr lang="en-US" sz="1200" b="1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rPr>
              <a:t>Format background/Fill/Solid Fill </a:t>
            </a:r>
            <a:r>
              <a:rPr lang="en-US" sz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rPr>
              <a:t>and choose preferred color.</a:t>
            </a:r>
            <a:endParaRPr lang="en-US" sz="1200">
              <a:solidFill>
                <a:schemeClr val="tx1">
                  <a:lumMod val="65000"/>
                  <a:lumOff val="35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1096602C-EB35-4424-8E9B-BD71DF48EA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2573" y="453771"/>
            <a:ext cx="5220001" cy="900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2861940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9425" y="1808163"/>
            <a:ext cx="3384000" cy="4321175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43CEEAF-AA68-480E-B46A-73994DDE212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404000" y="1808163"/>
            <a:ext cx="3384000" cy="4321175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3E1756A-DCCC-4FBC-8087-9B41431149D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8328575" y="1808163"/>
            <a:ext cx="3384000" cy="4321175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-xx-xx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1617BE-BA58-4B59-88D5-A8C7B239E9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198353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Grey">
    <p:bg>
      <p:bgPr>
        <a:solidFill>
          <a:srgbClr val="E7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9425" y="1808163"/>
            <a:ext cx="3384000" cy="4321175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43CEEAF-AA68-480E-B46A-73994DDE212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404000" y="1808163"/>
            <a:ext cx="3384000" cy="4321175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3E1756A-DCCC-4FBC-8087-9B41431149D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8328575" y="1808163"/>
            <a:ext cx="3384000" cy="4321175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-xx-xx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1617BE-BA58-4B59-88D5-A8C7B239E9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915284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ix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934FD6-6965-42FB-BAAE-EB96003A55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B2896A9-21ED-47CA-BB7D-A06FAA65F75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2216" y="1343005"/>
            <a:ext cx="3110182" cy="177130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69DC0B0-9301-4DDA-87A2-D9BCBEEF9AF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2216" y="2642954"/>
            <a:ext cx="3110182" cy="475774"/>
          </a:xfrm>
          <a:solidFill>
            <a:srgbClr val="00A0D0">
              <a:alpha val="70000"/>
            </a:srgbClr>
          </a:solidFill>
        </p:spPr>
        <p:txBody>
          <a:bodyPr lIns="93600" anchor="ctr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7F34E17-59E5-4651-B193-C4201B2917D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2216" y="3255963"/>
            <a:ext cx="3110182" cy="593125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8646B459-0A8C-4DD8-81A3-8F655580BD1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40909" y="1343006"/>
            <a:ext cx="3110182" cy="177130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E15A1B18-0C55-4499-BB39-A5065E2F32B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40909" y="2642954"/>
            <a:ext cx="3110182" cy="475774"/>
          </a:xfrm>
          <a:solidFill>
            <a:srgbClr val="00A0D0">
              <a:alpha val="70000"/>
            </a:srgbClr>
          </a:solidFill>
        </p:spPr>
        <p:txBody>
          <a:bodyPr lIns="93600" anchor="ctr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9B174B38-83EE-495F-B3C0-9F4E6E7BCB9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40909" y="3255963"/>
            <a:ext cx="3110182" cy="593125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4F98CEC9-5C3C-4F20-918E-8FF3FC4B28D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602261" y="1343006"/>
            <a:ext cx="3110182" cy="177130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83182A64-AC09-46DC-A037-22CE1C1900D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602261" y="2642954"/>
            <a:ext cx="3110182" cy="475774"/>
          </a:xfrm>
          <a:solidFill>
            <a:srgbClr val="00A0D0">
              <a:alpha val="70000"/>
            </a:srgbClr>
          </a:solidFill>
        </p:spPr>
        <p:txBody>
          <a:bodyPr lIns="93600" anchor="ctr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32336217-462D-478A-9C7F-727F90236F9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602261" y="3255963"/>
            <a:ext cx="3110182" cy="593125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5CE6539F-94E3-42E9-8502-B92BE05D1FD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72216" y="3874162"/>
            <a:ext cx="3110182" cy="177130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930BC81D-3A31-4792-9E66-95F2DFE1BA9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2216" y="5169347"/>
            <a:ext cx="3110182" cy="475774"/>
          </a:xfrm>
          <a:solidFill>
            <a:srgbClr val="00A0D0">
              <a:alpha val="70000"/>
            </a:srgbClr>
          </a:solidFill>
        </p:spPr>
        <p:txBody>
          <a:bodyPr lIns="93600" anchor="ctr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913B9190-7BBE-4E58-BFB4-FB5DDCCCE48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72216" y="5794371"/>
            <a:ext cx="3110182" cy="5940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A4EC62BA-8514-4964-BE47-6896611BD89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540909" y="3874164"/>
            <a:ext cx="3110182" cy="177130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7095BEB2-2A42-48AA-88B7-085C82953B1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540909" y="5169347"/>
            <a:ext cx="3110182" cy="475774"/>
          </a:xfrm>
          <a:solidFill>
            <a:srgbClr val="00A0D0">
              <a:alpha val="70000"/>
            </a:srgbClr>
          </a:solidFill>
        </p:spPr>
        <p:txBody>
          <a:bodyPr lIns="93600" anchor="ctr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0C1DCF3E-4371-49D8-A3E5-A41B70FF939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540909" y="5794371"/>
            <a:ext cx="3110182" cy="5940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50BD1882-5F80-42C4-9CAE-EF390FF9078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602261" y="3874162"/>
            <a:ext cx="3110182" cy="177130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C527CE44-BBFA-43CF-9052-0A4FB859CFE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602261" y="5169347"/>
            <a:ext cx="3110182" cy="475774"/>
          </a:xfrm>
          <a:solidFill>
            <a:srgbClr val="00A0D0">
              <a:alpha val="70000"/>
            </a:srgbClr>
          </a:solidFill>
        </p:spPr>
        <p:txBody>
          <a:bodyPr lIns="93600" anchor="ctr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Text Placeholder 22">
            <a:extLst>
              <a:ext uri="{FF2B5EF4-FFF2-40B4-BE49-F238E27FC236}">
                <a16:creationId xmlns:a16="http://schemas.microsoft.com/office/drawing/2014/main" id="{1DBFF56E-0743-4B50-9ECA-2742F89DC232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602261" y="5794371"/>
            <a:ext cx="3110182" cy="5940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DFAA49E-44DA-4058-9D16-F1943E3F04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-xx-xx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76AA5B-6BEF-4D0D-83A2-F2D2A91333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32281EA-4C74-4D4E-B80A-95B7AAE759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1617BE-BA58-4B59-88D5-A8C7B239E9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46627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A6D3C6C-C781-4A71-8DBC-B8D105CE1D89}"/>
              </a:ext>
            </a:extLst>
          </p:cNvPr>
          <p:cNvSpPr/>
          <p:nvPr userDrawn="1"/>
        </p:nvSpPr>
        <p:spPr bwMode="ltGray">
          <a:xfrm>
            <a:off x="0" y="4031096"/>
            <a:ext cx="12192000" cy="2445102"/>
          </a:xfrm>
          <a:prstGeom prst="rect">
            <a:avLst/>
          </a:prstGeom>
          <a:solidFill>
            <a:schemeClr val="accent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9425" y="2740894"/>
            <a:ext cx="9540000" cy="2387600"/>
          </a:xfrm>
        </p:spPr>
        <p:txBody>
          <a:bodyPr anchor="b">
            <a:noAutofit/>
          </a:bodyPr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9425" y="5377300"/>
            <a:ext cx="9540000" cy="715525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extruta 10">
            <a:extLst>
              <a:ext uri="{FF2B5EF4-FFF2-40B4-BE49-F238E27FC236}">
                <a16:creationId xmlns:a16="http://schemas.microsoft.com/office/drawing/2014/main" id="{CFBD2188-A43E-4247-B784-A5C7574E1F46}"/>
              </a:ext>
            </a:extLst>
          </p:cNvPr>
          <p:cNvSpPr txBox="1"/>
          <p:nvPr userDrawn="1"/>
        </p:nvSpPr>
        <p:spPr>
          <a:xfrm>
            <a:off x="3551595" y="-358022"/>
            <a:ext cx="5088811" cy="27699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en-US" sz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rPr>
              <a:t>Use the Picture Library to insert a picture into the background.</a:t>
            </a:r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C385A593-6682-4EDE-949E-FC3C7132AD3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479425" y="6581731"/>
            <a:ext cx="2589619" cy="16255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B7581FF-0643-47A1-8D7B-CBC100CA9EC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79425" y="771525"/>
            <a:ext cx="3198866" cy="622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127428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hree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934FD6-6965-42FB-BAAE-EB96003A55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B2896A9-21ED-47CA-BB7D-A06FAA65F75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9425" y="1809733"/>
            <a:ext cx="3110400" cy="17692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69DC0B0-9301-4DDA-87A2-D9BCBEEF9AF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3102538"/>
            <a:ext cx="3110400" cy="475774"/>
          </a:xfrm>
          <a:solidFill>
            <a:srgbClr val="00A0D0">
              <a:alpha val="70000"/>
            </a:srgbClr>
          </a:solidFill>
        </p:spPr>
        <p:txBody>
          <a:bodyPr lIns="93600" anchor="ctr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7F34E17-59E5-4651-B193-C4201B2917D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9425" y="3806785"/>
            <a:ext cx="3110400" cy="2186043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0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095978B4-A77F-4242-9853-C85805BA626A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543586" y="1809732"/>
            <a:ext cx="3110400" cy="177130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460738F4-564A-46A7-81C3-E816E78370B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543586" y="3102538"/>
            <a:ext cx="3110400" cy="475774"/>
          </a:xfrm>
          <a:solidFill>
            <a:srgbClr val="00A0D0">
              <a:alpha val="70000"/>
            </a:srgbClr>
          </a:solidFill>
        </p:spPr>
        <p:txBody>
          <a:bodyPr lIns="93600" anchor="ctr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1" name="Text Placeholder 22">
            <a:extLst>
              <a:ext uri="{FF2B5EF4-FFF2-40B4-BE49-F238E27FC236}">
                <a16:creationId xmlns:a16="http://schemas.microsoft.com/office/drawing/2014/main" id="{FD6E2990-AA96-4B2A-8FBA-613FCD59E4D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543586" y="3806785"/>
            <a:ext cx="3110400" cy="2186043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0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Picture Placeholder 6">
            <a:extLst>
              <a:ext uri="{FF2B5EF4-FFF2-40B4-BE49-F238E27FC236}">
                <a16:creationId xmlns:a16="http://schemas.microsoft.com/office/drawing/2014/main" id="{F0EC3C2B-14C4-4BC9-8BDA-66E2BE4DD32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597539" y="1809732"/>
            <a:ext cx="3110400" cy="177130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ABBAC1E9-EC6E-42BE-BA45-13C568D2359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597539" y="3102538"/>
            <a:ext cx="3110400" cy="475774"/>
          </a:xfrm>
          <a:solidFill>
            <a:srgbClr val="00A0D0">
              <a:alpha val="70000"/>
            </a:srgbClr>
          </a:solidFill>
        </p:spPr>
        <p:txBody>
          <a:bodyPr lIns="93600" anchor="ctr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4" name="Text Placeholder 22">
            <a:extLst>
              <a:ext uri="{FF2B5EF4-FFF2-40B4-BE49-F238E27FC236}">
                <a16:creationId xmlns:a16="http://schemas.microsoft.com/office/drawing/2014/main" id="{3EB6DC48-C523-4B06-9B01-79150874EFF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597539" y="3806785"/>
            <a:ext cx="3110400" cy="2186043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0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DFAA49E-44DA-4058-9D16-F1943E3F04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-xx-xx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76AA5B-6BEF-4D0D-83A2-F2D2A91333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32281EA-4C74-4D4E-B80A-95B7AAE759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1617BE-BA58-4B59-88D5-A8C7B239E9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00390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-xx-xx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1617BE-BA58-4B59-88D5-A8C7B239E9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41964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-xx-xx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1617BE-BA58-4B59-88D5-A8C7B239E9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502924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A6D3C6C-C781-4A71-8DBC-B8D105CE1D89}"/>
              </a:ext>
            </a:extLst>
          </p:cNvPr>
          <p:cNvSpPr/>
          <p:nvPr userDrawn="1"/>
        </p:nvSpPr>
        <p:spPr bwMode="ltGray">
          <a:xfrm>
            <a:off x="0" y="4796119"/>
            <a:ext cx="12192000" cy="1680079"/>
          </a:xfrm>
          <a:prstGeom prst="rect">
            <a:avLst/>
          </a:prstGeom>
          <a:solidFill>
            <a:schemeClr val="accent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9425" y="5104883"/>
            <a:ext cx="10270194" cy="468004"/>
          </a:xfrm>
        </p:spPr>
        <p:txBody>
          <a:bodyPr anchor="b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9428" y="5693889"/>
            <a:ext cx="6530975" cy="357598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extruta 10">
            <a:extLst>
              <a:ext uri="{FF2B5EF4-FFF2-40B4-BE49-F238E27FC236}">
                <a16:creationId xmlns:a16="http://schemas.microsoft.com/office/drawing/2014/main" id="{CFBD2188-A43E-4247-B784-A5C7574E1F46}"/>
              </a:ext>
            </a:extLst>
          </p:cNvPr>
          <p:cNvSpPr txBox="1"/>
          <p:nvPr userDrawn="1"/>
        </p:nvSpPr>
        <p:spPr>
          <a:xfrm>
            <a:off x="3551595" y="-358022"/>
            <a:ext cx="5088811" cy="27699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en-US" sz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rPr>
              <a:t>Use the Picture Library to insert a picture into the background.</a:t>
            </a:r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C385A593-6682-4EDE-949E-FC3C7132AD3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479425" y="6581731"/>
            <a:ext cx="2589619" cy="162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76307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2"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A6D3C6C-C781-4A71-8DBC-B8D105CE1D89}"/>
              </a:ext>
            </a:extLst>
          </p:cNvPr>
          <p:cNvSpPr/>
          <p:nvPr userDrawn="1"/>
        </p:nvSpPr>
        <p:spPr bwMode="ltGray">
          <a:xfrm>
            <a:off x="0" y="4796119"/>
            <a:ext cx="12192000" cy="1680079"/>
          </a:xfrm>
          <a:prstGeom prst="rect">
            <a:avLst/>
          </a:prstGeom>
          <a:solidFill>
            <a:schemeClr val="accent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9425" y="5104883"/>
            <a:ext cx="10270194" cy="468004"/>
          </a:xfrm>
        </p:spPr>
        <p:txBody>
          <a:bodyPr anchor="b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9428" y="5693889"/>
            <a:ext cx="6530975" cy="357598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extruta 10">
            <a:extLst>
              <a:ext uri="{FF2B5EF4-FFF2-40B4-BE49-F238E27FC236}">
                <a16:creationId xmlns:a16="http://schemas.microsoft.com/office/drawing/2014/main" id="{CFBD2188-A43E-4247-B784-A5C7574E1F46}"/>
              </a:ext>
            </a:extLst>
          </p:cNvPr>
          <p:cNvSpPr txBox="1"/>
          <p:nvPr userDrawn="1"/>
        </p:nvSpPr>
        <p:spPr>
          <a:xfrm>
            <a:off x="3551595" y="-358022"/>
            <a:ext cx="5088811" cy="27699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en-US" sz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rPr>
              <a:t>Use the Picture Library to insert a picture into the background.</a:t>
            </a:r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C385A593-6682-4EDE-949E-FC3C7132AD3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479425" y="6581731"/>
            <a:ext cx="2589619" cy="162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6264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816000" y="1602000"/>
            <a:ext cx="10560000" cy="4176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60A3C3-2789-4AAC-B9FC-ED958E583EC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D6B12A-5800-403E-961A-ECA28888C93F}" type="datetimeFigureOut">
              <a:rPr lang="en-US" smtClean="0"/>
              <a:pPr/>
              <a:t>9/29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592535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uilding with graffiti on the side of a road&#10;&#10;Description automatically generated">
            <a:extLst>
              <a:ext uri="{FF2B5EF4-FFF2-40B4-BE49-F238E27FC236}">
                <a16:creationId xmlns:a16="http://schemas.microsoft.com/office/drawing/2014/main" id="{D0140673-5EC4-47FF-B06A-F14E9139899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377" b="27710"/>
          <a:stretch/>
        </p:blipFill>
        <p:spPr>
          <a:xfrm>
            <a:off x="1" y="0"/>
            <a:ext cx="12192000" cy="6237312"/>
          </a:xfrm>
          <a:prstGeom prst="rect">
            <a:avLst/>
          </a:prstGeom>
        </p:spPr>
      </p:pic>
      <p:pic>
        <p:nvPicPr>
          <p:cNvPr id="4" name="Graphic 10">
            <a:extLst>
              <a:ext uri="{FF2B5EF4-FFF2-40B4-BE49-F238E27FC236}">
                <a16:creationId xmlns:a16="http://schemas.microsoft.com/office/drawing/2014/main" id="{9A761965-D975-4FD4-BBAB-44B509FFC6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24525" y="762265"/>
            <a:ext cx="2803911" cy="722521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3FA780BC-2D10-48F8-BCE9-DB97D9A7C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559" y="2669899"/>
            <a:ext cx="3816424" cy="668824"/>
          </a:xfrm>
        </p:spPr>
        <p:txBody>
          <a:bodyPr>
            <a:noAutofit/>
          </a:bodyPr>
          <a:lstStyle>
            <a:lvl1pPr algn="l" rtl="0">
              <a:defRPr lang="en-GB" sz="1350" b="0" i="0" smtClean="0">
                <a:solidFill>
                  <a:srgbClr val="005AAA"/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A1AA60BC-1579-4FB8-8840-59465C27216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5560" y="1678158"/>
            <a:ext cx="4816971" cy="1008112"/>
          </a:xfrm>
        </p:spPr>
        <p:txBody>
          <a:bodyPr>
            <a:noAutofit/>
          </a:bodyPr>
          <a:lstStyle>
            <a:lvl1pPr marL="0" indent="0" algn="l" rtl="0">
              <a:lnSpc>
                <a:spcPts val="2775"/>
              </a:lnSpc>
              <a:buNone/>
              <a:defRPr sz="2700" b="1">
                <a:solidFill>
                  <a:srgbClr val="005AAA"/>
                </a:solidFill>
                <a:latin typeface="+mj-lt"/>
                <a:cs typeface="Arial" panose="020B0604020202020204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377241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9"/>
          <p:cNvCxnSpPr/>
          <p:nvPr userDrawn="1"/>
        </p:nvCxnSpPr>
        <p:spPr>
          <a:xfrm flipH="1">
            <a:off x="6081185" y="1184275"/>
            <a:ext cx="27516" cy="4954588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1184988"/>
            <a:ext cx="5386917" cy="49507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1184988"/>
            <a:ext cx="5389033" cy="49507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31112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A6D3C6C-C781-4A71-8DBC-B8D105CE1D89}"/>
              </a:ext>
            </a:extLst>
          </p:cNvPr>
          <p:cNvSpPr/>
          <p:nvPr userDrawn="1"/>
        </p:nvSpPr>
        <p:spPr bwMode="white">
          <a:xfrm>
            <a:off x="0" y="1"/>
            <a:ext cx="6096000" cy="6426001"/>
          </a:xfrm>
          <a:prstGeom prst="rect">
            <a:avLst/>
          </a:prstGeom>
          <a:solidFill>
            <a:schemeClr val="accent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9424" y="441324"/>
            <a:ext cx="5220000" cy="2344019"/>
          </a:xfrm>
        </p:spPr>
        <p:txBody>
          <a:bodyPr anchor="b">
            <a:noAutofit/>
          </a:bodyPr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9425" y="3071236"/>
            <a:ext cx="5220000" cy="1512000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textruta 10">
            <a:extLst>
              <a:ext uri="{FF2B5EF4-FFF2-40B4-BE49-F238E27FC236}">
                <a16:creationId xmlns:a16="http://schemas.microsoft.com/office/drawing/2014/main" id="{75459816-234D-4F4C-862A-227FF93E3F61}"/>
              </a:ext>
            </a:extLst>
          </p:cNvPr>
          <p:cNvSpPr txBox="1"/>
          <p:nvPr userDrawn="1"/>
        </p:nvSpPr>
        <p:spPr>
          <a:xfrm>
            <a:off x="3551595" y="-358022"/>
            <a:ext cx="5088811" cy="27699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en-US" sz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rPr>
              <a:t>Use the Picture Library to insert a picture into the background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AEB9BBA-9A09-45C1-B8EF-AAB7914B936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79425" y="5019675"/>
            <a:ext cx="3201979" cy="622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3628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A6D3C6C-C781-4A71-8DBC-B8D105CE1D89}"/>
              </a:ext>
            </a:extLst>
          </p:cNvPr>
          <p:cNvSpPr/>
          <p:nvPr userDrawn="1"/>
        </p:nvSpPr>
        <p:spPr bwMode="white">
          <a:xfrm>
            <a:off x="0" y="1"/>
            <a:ext cx="6096000" cy="6426001"/>
          </a:xfrm>
          <a:prstGeom prst="rect">
            <a:avLst/>
          </a:prstGeom>
          <a:solidFill>
            <a:schemeClr val="accent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9424" y="441324"/>
            <a:ext cx="5220000" cy="2344019"/>
          </a:xfrm>
        </p:spPr>
        <p:txBody>
          <a:bodyPr anchor="b">
            <a:noAutofit/>
          </a:bodyPr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9425" y="3071236"/>
            <a:ext cx="5220000" cy="1512000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textruta 10">
            <a:extLst>
              <a:ext uri="{FF2B5EF4-FFF2-40B4-BE49-F238E27FC236}">
                <a16:creationId xmlns:a16="http://schemas.microsoft.com/office/drawing/2014/main" id="{75459816-234D-4F4C-862A-227FF93E3F61}"/>
              </a:ext>
            </a:extLst>
          </p:cNvPr>
          <p:cNvSpPr txBox="1"/>
          <p:nvPr userDrawn="1"/>
        </p:nvSpPr>
        <p:spPr>
          <a:xfrm>
            <a:off x="3551595" y="-358022"/>
            <a:ext cx="5088811" cy="27699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en-US" sz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rPr>
              <a:t>Use the Picture Library to insert a picture into the background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AEB9BBA-9A09-45C1-B8EF-AAB7914B936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79425" y="5019675"/>
            <a:ext cx="3201979" cy="622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45308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5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A6D3C6C-C781-4A71-8DBC-B8D105CE1D89}"/>
              </a:ext>
            </a:extLst>
          </p:cNvPr>
          <p:cNvSpPr/>
          <p:nvPr userDrawn="1"/>
        </p:nvSpPr>
        <p:spPr bwMode="white">
          <a:xfrm>
            <a:off x="6096000" y="1"/>
            <a:ext cx="6096000" cy="6426001"/>
          </a:xfrm>
          <a:prstGeom prst="rect">
            <a:avLst/>
          </a:prstGeom>
          <a:solidFill>
            <a:schemeClr val="accent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99224" y="441324"/>
            <a:ext cx="5220000" cy="2344019"/>
          </a:xfrm>
        </p:spPr>
        <p:txBody>
          <a:bodyPr anchor="b">
            <a:noAutofit/>
          </a:bodyPr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99225" y="3071236"/>
            <a:ext cx="5220000" cy="1512000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textruta 10">
            <a:extLst>
              <a:ext uri="{FF2B5EF4-FFF2-40B4-BE49-F238E27FC236}">
                <a16:creationId xmlns:a16="http://schemas.microsoft.com/office/drawing/2014/main" id="{C3FD9FE6-FE7C-4F00-AF7E-C8E6E85639CE}"/>
              </a:ext>
            </a:extLst>
          </p:cNvPr>
          <p:cNvSpPr txBox="1"/>
          <p:nvPr userDrawn="1"/>
        </p:nvSpPr>
        <p:spPr>
          <a:xfrm>
            <a:off x="3551595" y="-358022"/>
            <a:ext cx="5088811" cy="27699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en-US" sz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rPr>
              <a:t>Use the Picture Library to insert a picture into the background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48CB7AF-8201-42F7-8BC3-8F16C67680F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499225" y="5019675"/>
            <a:ext cx="3201979" cy="622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28892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ftey Firs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7D2CFEB-18F1-4991-96CA-9523CF97398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6096000" cy="6426001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8" name="Bildobjekt 5">
            <a:extLst>
              <a:ext uri="{FF2B5EF4-FFF2-40B4-BE49-F238E27FC236}">
                <a16:creationId xmlns:a16="http://schemas.microsoft.com/office/drawing/2014/main" id="{26DE4643-6949-4C54-AB5F-7EB9EE30AED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79425" y="6581731"/>
            <a:ext cx="2589619" cy="162557"/>
          </a:xfrm>
          <a:prstGeom prst="rect">
            <a:avLst/>
          </a:prstGeom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B644807-CC3D-4175-98E3-2EC602BB2E2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B1617BE-BA58-4B59-88D5-A8C7B239E9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5E35846-9529-4380-B6EB-57C798F61E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78230" y="453772"/>
            <a:ext cx="4834344" cy="900000"/>
          </a:xfrm>
        </p:spPr>
        <p:txBody>
          <a:bodyPr/>
          <a:lstStyle>
            <a:lvl1pPr>
              <a:defRPr sz="38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4943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-xx-xx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1617BE-BA58-4B59-88D5-A8C7B239E9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53173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9425" y="1808163"/>
            <a:ext cx="5220000" cy="4321175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ECAE8A6-211E-4D91-91EE-9E8F5375E7C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477941" y="1808162"/>
            <a:ext cx="5220000" cy="4321175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-xx-xx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1617BE-BA58-4B59-88D5-A8C7B239E9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93934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2600" y="873125"/>
            <a:ext cx="9540000" cy="1927225"/>
          </a:xfrm>
        </p:spPr>
        <p:txBody>
          <a:bodyPr anchor="b">
            <a:no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79425" y="3065463"/>
            <a:ext cx="95400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-xx-xx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1617BE-BA58-4B59-88D5-A8C7B239E913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ruta 10">
            <a:extLst>
              <a:ext uri="{FF2B5EF4-FFF2-40B4-BE49-F238E27FC236}">
                <a16:creationId xmlns:a16="http://schemas.microsoft.com/office/drawing/2014/main" id="{5E7829D9-136D-4CC9-ABE6-8E61D5670ABB}"/>
              </a:ext>
            </a:extLst>
          </p:cNvPr>
          <p:cNvSpPr txBox="1"/>
          <p:nvPr userDrawn="1"/>
        </p:nvSpPr>
        <p:spPr>
          <a:xfrm>
            <a:off x="3551595" y="-358022"/>
            <a:ext cx="5088811" cy="27699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en-US" sz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rPr>
              <a:t>Use the Picture Library to insert a picture into the background.</a:t>
            </a:r>
          </a:p>
        </p:txBody>
      </p:sp>
    </p:spTree>
    <p:extLst>
      <p:ext uri="{BB962C8B-B14F-4D97-AF65-F5344CB8AC3E}">
        <p14:creationId xmlns:p14="http://schemas.microsoft.com/office/powerpoint/2010/main" val="31619801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C656EECA-3CE0-4811-BFFC-0FAC4F17D6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1707181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416" imgH="416" progId="TCLayout.ActiveDocument.1">
                  <p:embed/>
                </p:oleObj>
              </mc:Choice>
              <mc:Fallback>
                <p:oleObj name="think-cell Slide" r:id="rId31" imgW="416" imgH="41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C656EECA-3CE0-4811-BFFC-0FAC4F17D6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913BC575-D87B-4642-854D-B2A1400E2C12}"/>
              </a:ext>
            </a:extLst>
          </p:cNvPr>
          <p:cNvSpPr/>
          <p:nvPr userDrawn="1"/>
        </p:nvSpPr>
        <p:spPr bwMode="ltGray">
          <a:xfrm>
            <a:off x="0" y="6426000"/>
            <a:ext cx="12192000" cy="43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41438"/>
            <a:ext cx="11233150" cy="90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808163"/>
            <a:ext cx="11233150" cy="4321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672577" y="6457590"/>
            <a:ext cx="1080000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50">
                <a:solidFill>
                  <a:schemeClr val="bg1"/>
                </a:solidFill>
              </a:defRPr>
            </a:lvl1pPr>
          </a:lstStyle>
          <a:p>
            <a:r>
              <a:rPr lang="en-US"/>
              <a:t>20xx-xx-xx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79423" y="6462715"/>
            <a:ext cx="5040000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5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844000" y="6457590"/>
            <a:ext cx="504000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50">
                <a:solidFill>
                  <a:schemeClr val="bg1"/>
                </a:solidFill>
              </a:defRPr>
            </a:lvl1pPr>
          </a:lstStyle>
          <a:p>
            <a:fld id="{0B1617BE-BA58-4B59-88D5-A8C7B239E91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9C64CF0-EC05-4770-8E39-2CDC773791ED}"/>
              </a:ext>
            </a:extLst>
          </p:cNvPr>
          <p:cNvPicPr>
            <a:picLocks noChangeAspect="1"/>
          </p:cNvPicPr>
          <p:nvPr userDrawn="1"/>
        </p:nvPicPr>
        <p:blipFill>
          <a:blip r:embed="rId33"/>
          <a:stretch>
            <a:fillRect/>
          </a:stretch>
        </p:blipFill>
        <p:spPr bwMode="black">
          <a:xfrm>
            <a:off x="10749619" y="6554364"/>
            <a:ext cx="1188000" cy="164062"/>
          </a:xfrm>
          <a:prstGeom prst="rect">
            <a:avLst/>
          </a:prstGeom>
        </p:spPr>
      </p:pic>
      <p:sp>
        <p:nvSpPr>
          <p:cNvPr id="10" name="textruta 9">
            <a:extLst>
              <a:ext uri="{FF2B5EF4-FFF2-40B4-BE49-F238E27FC236}">
                <a16:creationId xmlns:a16="http://schemas.microsoft.com/office/drawing/2014/main" id="{8A0D2A36-744F-44D7-9236-DF15871B4AAE}"/>
              </a:ext>
            </a:extLst>
          </p:cNvPr>
          <p:cNvSpPr txBox="1"/>
          <p:nvPr userDrawn="1">
            <p:custDataLst>
              <p:tags r:id="rId30"/>
            </p:custDataLst>
          </p:nvPr>
        </p:nvSpPr>
        <p:spPr>
          <a:xfrm>
            <a:off x="7897812" y="6555484"/>
            <a:ext cx="1905000" cy="16421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ctr"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EC0B488-C166-4B40-854E-9342BE06F7A7}"/>
              </a:ext>
            </a:extLst>
          </p:cNvPr>
          <p:cNvSpPr txBox="1"/>
          <p:nvPr userDrawn="1"/>
        </p:nvSpPr>
        <p:spPr>
          <a:xfrm>
            <a:off x="0" y="6894715"/>
            <a:ext cx="31870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ASSA ABLOY. All rights reserved</a:t>
            </a:r>
            <a:endParaRPr lang="en-GB" sz="12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00366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600"/>
        </a:spcBef>
        <a:buClr>
          <a:srgbClr val="C3C4BE"/>
        </a:buClr>
        <a:buSzPct val="80000"/>
        <a:buFont typeface="Wingdings" panose="05000000000000000000" pitchFamily="2" charset="2"/>
        <a:buChar char="§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1400"/>
        </a:spcBef>
        <a:buClr>
          <a:srgbClr val="C3C4BE"/>
        </a:buClr>
        <a:buSzPct val="80000"/>
        <a:buFont typeface="Wingdings" panose="05000000000000000000" pitchFamily="2" charset="2"/>
        <a:buChar char="§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1200"/>
        </a:spcBef>
        <a:buClr>
          <a:srgbClr val="C3C4BE"/>
        </a:buClr>
        <a:buSzPct val="80000"/>
        <a:buFont typeface="Wingdings" panose="05000000000000000000" pitchFamily="2" charset="2"/>
        <a:buChar char="§"/>
        <a:defRPr sz="12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1100"/>
        </a:spcBef>
        <a:buClr>
          <a:srgbClr val="C3C4BE"/>
        </a:buClr>
        <a:buSzPct val="80000"/>
        <a:buFont typeface="Wingdings" panose="05000000000000000000" pitchFamily="2" charset="2"/>
        <a:buChar char="§"/>
        <a:defRPr sz="11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1100"/>
        </a:spcBef>
        <a:buClr>
          <a:srgbClr val="C3C4BE"/>
        </a:buClr>
        <a:buSzPct val="80000"/>
        <a:buFont typeface="Wingdings" panose="05000000000000000000" pitchFamily="2" charset="2"/>
        <a:buChar char="§"/>
        <a:defRPr sz="11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1139">
          <p15:clr>
            <a:srgbClr val="F26B43"/>
          </p15:clr>
        </p15:guide>
        <p15:guide id="3" orient="horz" pos="278">
          <p15:clr>
            <a:srgbClr val="F26B43"/>
          </p15:clr>
        </p15:guide>
        <p15:guide id="4" orient="horz" pos="3861">
          <p15:clr>
            <a:srgbClr val="F26B43"/>
          </p15:clr>
        </p15:guide>
        <p15:guide id="5" orient="horz" pos="4042">
          <p15:clr>
            <a:srgbClr val="F26B43"/>
          </p15:clr>
        </p15:guide>
        <p15:guide id="6" orient="horz" pos="4224">
          <p15:clr>
            <a:srgbClr val="F26B43"/>
          </p15:clr>
        </p15:guide>
        <p15:guide id="7" pos="302">
          <p15:clr>
            <a:srgbClr val="F26B43"/>
          </p15:clr>
        </p15:guide>
        <p15:guide id="8" pos="7378">
          <p15:clr>
            <a:srgbClr val="F26B43"/>
          </p15:clr>
        </p15:guide>
        <p15:guide id="9" orient="horz" pos="84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7" Type="http://schemas.openxmlformats.org/officeDocument/2006/relationships/image" Target="../media/image22.emf"/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1.jpeg"/><Relationship Id="rId5" Type="http://schemas.openxmlformats.org/officeDocument/2006/relationships/image" Target="../media/image20.jpeg"/><Relationship Id="rId4" Type="http://schemas.openxmlformats.org/officeDocument/2006/relationships/image" Target="../media/image19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7" Type="http://schemas.openxmlformats.org/officeDocument/2006/relationships/image" Target="../media/image28.emf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7.jpeg"/><Relationship Id="rId5" Type="http://schemas.openxmlformats.org/officeDocument/2006/relationships/image" Target="../media/image26.jpg"/><Relationship Id="rId4" Type="http://schemas.openxmlformats.org/officeDocument/2006/relationships/image" Target="../media/image25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31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wmf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3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white van on a road&#10;&#10;Description automatically generated with medium confidence">
            <a:extLst>
              <a:ext uri="{FF2B5EF4-FFF2-40B4-BE49-F238E27FC236}">
                <a16:creationId xmlns:a16="http://schemas.microsoft.com/office/drawing/2014/main" id="{56190198-9B09-7DC3-D0E4-B10E66AE487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553" r="23791" b="25964"/>
          <a:stretch/>
        </p:blipFill>
        <p:spPr>
          <a:xfrm>
            <a:off x="1" y="0"/>
            <a:ext cx="12192000" cy="6237312"/>
          </a:xfrm>
          <a:prstGeom prst="rect">
            <a:avLst/>
          </a:prstGeom>
        </p:spPr>
      </p:pic>
      <p:sp>
        <p:nvSpPr>
          <p:cNvPr id="7" name="Subtitle 6">
            <a:extLst>
              <a:ext uri="{FF2B5EF4-FFF2-40B4-BE49-F238E27FC236}">
                <a16:creationId xmlns:a16="http://schemas.microsoft.com/office/drawing/2014/main" id="{F1F58A10-860C-614E-22F3-633BE51502D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3392" y="1268760"/>
            <a:ext cx="9780920" cy="1008112"/>
          </a:xfrm>
        </p:spPr>
        <p:txBody>
          <a:bodyPr/>
          <a:lstStyle/>
          <a:p>
            <a:r>
              <a:rPr lang="en-US" sz="3600" dirty="0">
                <a:solidFill>
                  <a:schemeClr val="bg1"/>
                </a:solidFill>
              </a:rPr>
              <a:t>Van Locks</a:t>
            </a:r>
          </a:p>
          <a:p>
            <a:r>
              <a:rPr lang="en-US" sz="2000" dirty="0">
                <a:solidFill>
                  <a:schemeClr val="bg1"/>
                </a:solidFill>
              </a:rPr>
              <a:t>9/2022</a:t>
            </a:r>
          </a:p>
        </p:txBody>
      </p:sp>
      <p:pic>
        <p:nvPicPr>
          <p:cNvPr id="15" name="Graphic 10">
            <a:extLst>
              <a:ext uri="{FF2B5EF4-FFF2-40B4-BE49-F238E27FC236}">
                <a16:creationId xmlns:a16="http://schemas.microsoft.com/office/drawing/2014/main" id="{AABD1139-01C1-389D-9A21-48B46FF95300}"/>
              </a:ext>
            </a:extLst>
          </p:cNvPr>
          <p:cNvPicPr>
            <a:picLocks noChangeAspect="1"/>
          </p:cNvPicPr>
          <p:nvPr/>
        </p:nvPicPr>
        <p:blipFill>
          <a:blip r:embed="rId4">
            <a:lum bright="100000"/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35360" y="260648"/>
            <a:ext cx="2803911" cy="722521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6">
            <a:extLst>
              <a:ext uri="{FF2B5EF4-FFF2-40B4-BE49-F238E27FC236}">
                <a16:creationId xmlns:a16="http://schemas.microsoft.com/office/drawing/2014/main" id="{DFB0CF37-3FE9-F397-B831-999AD962C41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2190" y="2654347"/>
            <a:ext cx="2797410" cy="3729881"/>
          </a:xfrm>
          <a:prstGeom prst="rect">
            <a:avLst/>
          </a:prstGeom>
        </p:spPr>
      </p:pic>
      <p:pic>
        <p:nvPicPr>
          <p:cNvPr id="6" name="Image 30">
            <a:extLst>
              <a:ext uri="{FF2B5EF4-FFF2-40B4-BE49-F238E27FC236}">
                <a16:creationId xmlns:a16="http://schemas.microsoft.com/office/drawing/2014/main" id="{0F28949F-7C72-2D62-E114-B81B7D8344C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722" y="3429000"/>
            <a:ext cx="2203812" cy="2938639"/>
          </a:xfrm>
          <a:prstGeom prst="rect">
            <a:avLst/>
          </a:prstGeom>
        </p:spPr>
      </p:pic>
      <p:pic>
        <p:nvPicPr>
          <p:cNvPr id="7" name="תמונה 6">
            <a:extLst>
              <a:ext uri="{FF2B5EF4-FFF2-40B4-BE49-F238E27FC236}">
                <a16:creationId xmlns:a16="http://schemas.microsoft.com/office/drawing/2014/main" id="{58BF30B9-8F1E-27C0-52AC-EFDA56C436E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227" y="3915836"/>
            <a:ext cx="2979940" cy="2191609"/>
          </a:xfrm>
          <a:prstGeom prst="rect">
            <a:avLst/>
          </a:prstGeom>
        </p:spPr>
      </p:pic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CA132503-B667-F482-4940-B8015C9F5C34}"/>
              </a:ext>
            </a:extLst>
          </p:cNvPr>
          <p:cNvSpPr txBox="1">
            <a:spLocks/>
          </p:cNvSpPr>
          <p:nvPr/>
        </p:nvSpPr>
        <p:spPr bwMode="auto">
          <a:xfrm>
            <a:off x="302400" y="509160"/>
            <a:ext cx="6631799" cy="30849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000" rIns="180000"/>
          <a:lstStyle>
            <a:lvl1pPr marL="457200" indent="-457200" eaLnBrk="0" hangingPunct="0">
              <a:spcBef>
                <a:spcPct val="6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914400" indent="-457200" eaLnBrk="0" hangingPunct="0">
              <a:spcBef>
                <a:spcPct val="35000"/>
              </a:spcBef>
              <a:buFont typeface="Verdana" panose="020B060403050404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371600" indent="-457200" eaLnBrk="0" hangingPunct="0">
              <a:spcBef>
                <a:spcPct val="25000"/>
              </a:spcBef>
              <a:buFont typeface="Verdana" panose="020B060403050404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828800" indent="-457200" eaLnBrk="0" hangingPunct="0">
              <a:spcBef>
                <a:spcPct val="25000"/>
              </a:spcBef>
              <a:buFont typeface="Verdana" panose="020B060403050404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286000" indent="-457200" eaLnBrk="0" hangingPunct="0">
              <a:spcBef>
                <a:spcPct val="25000"/>
              </a:spcBef>
              <a:buFont typeface="Verdana" panose="020B060403050404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743200" indent="-457200" eaLnBrk="0" fontAlgn="base" hangingPunct="0">
              <a:spcBef>
                <a:spcPct val="250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3200400" indent="-457200" eaLnBrk="0" fontAlgn="base" hangingPunct="0">
              <a:spcBef>
                <a:spcPct val="250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657600" indent="-457200" eaLnBrk="0" fontAlgn="base" hangingPunct="0">
              <a:spcBef>
                <a:spcPct val="250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4114800" indent="-457200" eaLnBrk="0" fontAlgn="base" hangingPunct="0">
              <a:spcBef>
                <a:spcPct val="250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marL="0" indent="0" algn="l" rtl="0">
              <a:buNone/>
            </a:pPr>
            <a:r>
              <a:rPr lang="en-GB" sz="2800" b="1" u="sng" dirty="0"/>
              <a:t>MVP1000</a:t>
            </a:r>
            <a:r>
              <a:rPr lang="en-GB" b="1" u="sng" dirty="0"/>
              <a:t> - New entry level van locking</a:t>
            </a:r>
          </a:p>
          <a:p>
            <a:pPr algn="l" rtl="0"/>
            <a:r>
              <a:rPr lang="en-GB" sz="1400" dirty="0"/>
              <a:t>For both rear and side doors.</a:t>
            </a:r>
          </a:p>
          <a:p>
            <a:pPr algn="l" rtl="0"/>
            <a:r>
              <a:rPr lang="en-GB" sz="1400" dirty="0"/>
              <a:t>Friendly and fast installation.</a:t>
            </a:r>
          </a:p>
          <a:p>
            <a:pPr algn="l" rtl="0"/>
            <a:r>
              <a:rPr lang="en-GB" sz="1400" dirty="0"/>
              <a:t>Suitable to be self-installed</a:t>
            </a:r>
          </a:p>
          <a:p>
            <a:pPr algn="l" rtl="0"/>
            <a:r>
              <a:rPr lang="en-GB" sz="1400" dirty="0"/>
              <a:t>Competitive cost and pricing.</a:t>
            </a:r>
          </a:p>
          <a:p>
            <a:pPr algn="l" rtl="0"/>
            <a:r>
              <a:rPr lang="en-GB" sz="1400" dirty="0"/>
              <a:t>User-friendly for end-user.</a:t>
            </a:r>
          </a:p>
          <a:p>
            <a:pPr algn="l" rtl="0"/>
            <a:r>
              <a:rPr lang="en-GB" sz="1400" dirty="0"/>
              <a:t>Suitable for most commercial vehicle models.</a:t>
            </a:r>
          </a:p>
          <a:p>
            <a:pPr algn="l" rtl="0"/>
            <a:r>
              <a:rPr lang="en-GB" sz="1400" dirty="0"/>
              <a:t>Sold separately or set of 2 keyed alike.</a:t>
            </a:r>
          </a:p>
        </p:txBody>
      </p:sp>
      <p:pic>
        <p:nvPicPr>
          <p:cNvPr id="13" name="Image 23">
            <a:extLst>
              <a:ext uri="{FF2B5EF4-FFF2-40B4-BE49-F238E27FC236}">
                <a16:creationId xmlns:a16="http://schemas.microsoft.com/office/drawing/2014/main" id="{D163BF81-5F29-9B88-1CE0-6C34492C5E4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85" t="11517"/>
          <a:stretch/>
        </p:blipFill>
        <p:spPr bwMode="auto">
          <a:xfrm>
            <a:off x="6804721" y="310118"/>
            <a:ext cx="2238375" cy="300037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5" name="Image 42">
            <a:extLst>
              <a:ext uri="{FF2B5EF4-FFF2-40B4-BE49-F238E27FC236}">
                <a16:creationId xmlns:a16="http://schemas.microsoft.com/office/drawing/2014/main" id="{B7B9F668-9534-B4BC-22E2-4D7D88B5747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92190" y="310118"/>
            <a:ext cx="2965052" cy="2223789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תמונה 2">
            <a:extLst>
              <a:ext uri="{FF2B5EF4-FFF2-40B4-BE49-F238E27FC236}">
                <a16:creationId xmlns:a16="http://schemas.microsoft.com/office/drawing/2014/main" id="{FB7FA170-2E39-5B54-6EFE-B0D32E04456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29947" y="3508602"/>
            <a:ext cx="3200880" cy="2776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6267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1617BE-BA58-4B59-88D5-A8C7B239E913}" type="slidenum">
              <a:rPr kumimoji="0" lang="en-US" sz="105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11" name="Image 10" descr="Une image contenant mur, intérieur, toilette, carrelé&#10;&#10;Description générée automatiquement">
            <a:extLst>
              <a:ext uri="{FF2B5EF4-FFF2-40B4-BE49-F238E27FC236}">
                <a16:creationId xmlns:a16="http://schemas.microsoft.com/office/drawing/2014/main" id="{E2429DAE-8A13-3F7F-B9EB-386045A27E7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7633" y="249767"/>
            <a:ext cx="2651124" cy="3534833"/>
          </a:xfrm>
          <a:prstGeom prst="rect">
            <a:avLst/>
          </a:prstGeom>
        </p:spPr>
      </p:pic>
      <p:pic>
        <p:nvPicPr>
          <p:cNvPr id="12" name="Image 25" descr="Une image contenant serrure, objets métalliques, fermer&#10;&#10;Description générée automatiquement">
            <a:extLst>
              <a:ext uri="{FF2B5EF4-FFF2-40B4-BE49-F238E27FC236}">
                <a16:creationId xmlns:a16="http://schemas.microsoft.com/office/drawing/2014/main" id="{B77C8D51-B660-8654-B8AE-4768D1CA9FC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1178" y="249767"/>
            <a:ext cx="2651124" cy="3534831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תמונה 13" descr="תמונה שמכילה ישיבה, מקורה, שחור&#10;&#10;התיאור נוצר באופן אוטומטי">
            <a:extLst>
              <a:ext uri="{FF2B5EF4-FFF2-40B4-BE49-F238E27FC236}">
                <a16:creationId xmlns:a16="http://schemas.microsoft.com/office/drawing/2014/main" id="{056DF5D3-1BEA-CD99-3B5A-D29BDC1C59B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576" y="3870475"/>
            <a:ext cx="2869657" cy="2398209"/>
          </a:xfrm>
          <a:prstGeom prst="rect">
            <a:avLst/>
          </a:prstGeom>
        </p:spPr>
      </p:pic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F8032FFD-7BEA-5AE8-B116-0666FB8656B2}"/>
              </a:ext>
            </a:extLst>
          </p:cNvPr>
          <p:cNvSpPr txBox="1">
            <a:spLocks/>
          </p:cNvSpPr>
          <p:nvPr/>
        </p:nvSpPr>
        <p:spPr bwMode="auto">
          <a:xfrm>
            <a:off x="241843" y="552949"/>
            <a:ext cx="6277489" cy="3786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000" rIns="180000"/>
          <a:lstStyle>
            <a:lvl1pPr marL="457200" indent="-457200" eaLnBrk="0" hangingPunct="0">
              <a:spcBef>
                <a:spcPct val="6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914400" indent="-457200" eaLnBrk="0" hangingPunct="0">
              <a:spcBef>
                <a:spcPct val="35000"/>
              </a:spcBef>
              <a:buFont typeface="Verdana" panose="020B060403050404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371600" indent="-457200" eaLnBrk="0" hangingPunct="0">
              <a:spcBef>
                <a:spcPct val="25000"/>
              </a:spcBef>
              <a:buFont typeface="Verdana" panose="020B060403050404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828800" indent="-457200" eaLnBrk="0" hangingPunct="0">
              <a:spcBef>
                <a:spcPct val="25000"/>
              </a:spcBef>
              <a:buFont typeface="Verdana" panose="020B060403050404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286000" indent="-457200" eaLnBrk="0" hangingPunct="0">
              <a:spcBef>
                <a:spcPct val="25000"/>
              </a:spcBef>
              <a:buFont typeface="Verdana" panose="020B060403050404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743200" indent="-457200" eaLnBrk="0" fontAlgn="base" hangingPunct="0">
              <a:spcBef>
                <a:spcPct val="250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3200400" indent="-457200" eaLnBrk="0" fontAlgn="base" hangingPunct="0">
              <a:spcBef>
                <a:spcPct val="250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657600" indent="-457200" eaLnBrk="0" fontAlgn="base" hangingPunct="0">
              <a:spcBef>
                <a:spcPct val="250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4114800" indent="-457200" eaLnBrk="0" fontAlgn="base" hangingPunct="0">
              <a:spcBef>
                <a:spcPct val="250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marL="0" indent="0" algn="l" rtl="0">
              <a:buNone/>
            </a:pPr>
            <a:r>
              <a:rPr lang="en-GB" sz="2800" b="1" u="sng" dirty="0"/>
              <a:t>MVP3000</a:t>
            </a:r>
            <a:r>
              <a:rPr lang="en-GB" sz="1400" b="1" u="sng" dirty="0"/>
              <a:t> - </a:t>
            </a:r>
            <a:r>
              <a:rPr lang="en-GB" b="1" u="sng" dirty="0"/>
              <a:t>New Van Locking solution</a:t>
            </a:r>
          </a:p>
          <a:p>
            <a:pPr algn="l" rtl="0"/>
            <a:r>
              <a:rPr lang="en-GB" sz="1400" dirty="0"/>
              <a:t>For both rear and side doors.</a:t>
            </a:r>
          </a:p>
          <a:p>
            <a:pPr algn="l" rtl="0"/>
            <a:r>
              <a:rPr lang="en-GB" sz="1400" dirty="0"/>
              <a:t>Rigid structure for high defence.</a:t>
            </a:r>
          </a:p>
          <a:p>
            <a:pPr algn="l" rtl="0"/>
            <a:r>
              <a:rPr lang="en-GB" sz="1400" dirty="0"/>
              <a:t>Friendly and fast installation.</a:t>
            </a:r>
          </a:p>
          <a:p>
            <a:pPr algn="l" rtl="0"/>
            <a:r>
              <a:rPr lang="en-GB" sz="1400" dirty="0"/>
              <a:t>User-friendly for end-user.</a:t>
            </a:r>
          </a:p>
          <a:p>
            <a:pPr algn="l" rtl="0"/>
            <a:r>
              <a:rPr lang="en-GB" sz="1400" dirty="0"/>
              <a:t>Includes emergency opening feature.</a:t>
            </a:r>
          </a:p>
          <a:p>
            <a:pPr algn="l" rtl="0"/>
            <a:r>
              <a:rPr lang="en-GB" sz="1400" dirty="0"/>
              <a:t>Suitable for most commercial vehicle models.</a:t>
            </a:r>
            <a:endParaRPr lang="en-US" sz="1400" dirty="0"/>
          </a:p>
          <a:p>
            <a:pPr algn="l" rtl="0"/>
            <a:r>
              <a:rPr lang="en-US" sz="1400" dirty="0"/>
              <a:t>Includes dust shutter.</a:t>
            </a:r>
          </a:p>
          <a:p>
            <a:pPr algn="l" rtl="0"/>
            <a:r>
              <a:rPr lang="en-GB" sz="1400" dirty="0"/>
              <a:t>Sold separately or set of 2 keyed alike.</a:t>
            </a:r>
          </a:p>
          <a:p>
            <a:pPr algn="l" rtl="0"/>
            <a:endParaRPr lang="en-GB" sz="1400" dirty="0"/>
          </a:p>
        </p:txBody>
      </p:sp>
      <p:pic>
        <p:nvPicPr>
          <p:cNvPr id="10" name="Image 8" descr="Une image contenant intérieur&#10;&#10;Description générée automatiquement">
            <a:extLst>
              <a:ext uri="{FF2B5EF4-FFF2-40B4-BE49-F238E27FC236}">
                <a16:creationId xmlns:a16="http://schemas.microsoft.com/office/drawing/2014/main" id="{8CEF1F66-9333-CF2F-43DF-D7EE2062C07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6501" y="3870475"/>
            <a:ext cx="1869556" cy="2492741"/>
          </a:xfrm>
          <a:prstGeom prst="rect">
            <a:avLst/>
          </a:prstGeom>
        </p:spPr>
      </p:pic>
      <p:pic>
        <p:nvPicPr>
          <p:cNvPr id="13" name="Image 8" descr="Une image contenant personne, main&#10;&#10;Description générée automatiquement">
            <a:extLst>
              <a:ext uri="{FF2B5EF4-FFF2-40B4-BE49-F238E27FC236}">
                <a16:creationId xmlns:a16="http://schemas.microsoft.com/office/drawing/2014/main" id="{7A7AE092-49FD-E6A8-3852-D093626116F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7633" y="3826768"/>
            <a:ext cx="1927123" cy="2569690"/>
          </a:xfrm>
          <a:prstGeom prst="rect">
            <a:avLst/>
          </a:prstGeom>
        </p:spPr>
      </p:pic>
      <p:pic>
        <p:nvPicPr>
          <p:cNvPr id="3" name="תמונה 2">
            <a:extLst>
              <a:ext uri="{FF2B5EF4-FFF2-40B4-BE49-F238E27FC236}">
                <a16:creationId xmlns:a16="http://schemas.microsoft.com/office/drawing/2014/main" id="{2291D061-B1CD-8B7E-D21D-98C075F125F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11500" y="3870475"/>
            <a:ext cx="2762135" cy="2388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88354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69" name="Title 4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en-US" sz="2800" u="sng" dirty="0">
                <a:solidFill>
                  <a:schemeClr val="tx1"/>
                </a:solidFill>
              </a:rPr>
              <a:t>Multi-Point locking for rear and side doors</a:t>
            </a:r>
            <a:endParaRPr lang="he-IL" sz="2800" u="sng" dirty="0">
              <a:solidFill>
                <a:schemeClr val="tx1"/>
              </a:solidFill>
            </a:endParaRPr>
          </a:p>
        </p:txBody>
      </p:sp>
      <p:sp>
        <p:nvSpPr>
          <p:cNvPr id="32770" name="Content Placeholder 6"/>
          <p:cNvSpPr>
            <a:spLocks noGrp="1"/>
          </p:cNvSpPr>
          <p:nvPr>
            <p:ph sz="half" idx="2"/>
          </p:nvPr>
        </p:nvSpPr>
        <p:spPr>
          <a:xfrm>
            <a:off x="605387" y="1412776"/>
            <a:ext cx="5231852" cy="409207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buClr>
                <a:schemeClr val="accent1"/>
              </a:buClr>
              <a:buSzPct val="100000"/>
            </a:pPr>
            <a:r>
              <a:rPr lang="en-US" sz="1400" dirty="0">
                <a:latin typeface="+mj-lt"/>
              </a:rPr>
              <a:t>Locks the rear doors at 3 points</a:t>
            </a:r>
          </a:p>
          <a:p>
            <a:pPr>
              <a:buClr>
                <a:schemeClr val="accent1"/>
              </a:buClr>
              <a:buSzPct val="100000"/>
            </a:pPr>
            <a:r>
              <a:rPr lang="en-US" sz="1400" dirty="0">
                <a:latin typeface="+mj-lt"/>
              </a:rPr>
              <a:t>Prevents opening of the side sliding door</a:t>
            </a:r>
          </a:p>
          <a:p>
            <a:pPr>
              <a:buClr>
                <a:schemeClr val="accent1"/>
              </a:buClr>
              <a:buSzPct val="100000"/>
            </a:pPr>
            <a:r>
              <a:rPr lang="en-US" sz="1400" dirty="0">
                <a:latin typeface="+mj-lt"/>
              </a:rPr>
              <a:t>Totally blends with the exterior of the vehicle</a:t>
            </a:r>
          </a:p>
          <a:p>
            <a:pPr>
              <a:buClr>
                <a:schemeClr val="accent1"/>
              </a:buClr>
              <a:buSzPct val="100000"/>
            </a:pPr>
            <a:r>
              <a:rPr lang="en-US" sz="1400" dirty="0">
                <a:latin typeface="+mj-lt"/>
              </a:rPr>
              <a:t>Integrated micro-switch is optional</a:t>
            </a:r>
            <a:endParaRPr lang="he-IL" sz="1400" dirty="0">
              <a:latin typeface="+mj-lt"/>
            </a:endParaRPr>
          </a:p>
        </p:txBody>
      </p:sp>
      <p:sp>
        <p:nvSpPr>
          <p:cNvPr id="32771" name="Slide Number Placeholder 3"/>
          <p:cNvSpPr txBox="1">
            <a:spLocks noGrp="1"/>
          </p:cNvSpPr>
          <p:nvPr/>
        </p:nvSpPr>
        <p:spPr bwMode="auto">
          <a:xfrm>
            <a:off x="5837239" y="6543675"/>
            <a:ext cx="51752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rtl="0"/>
            <a:fld id="{4374519E-E934-4AD5-A03D-43D0C6F35D62}" type="slidenum">
              <a:rPr lang="he-IL" sz="1200">
                <a:solidFill>
                  <a:schemeClr val="bg1"/>
                </a:solidFill>
                <a:latin typeface="Calibri" pitchFamily="34" charset="0"/>
              </a:rPr>
              <a:pPr algn="ctr" rtl="0"/>
              <a:t>4</a:t>
            </a:fld>
            <a:endParaRPr lang="en-GB" sz="1200">
              <a:solidFill>
                <a:schemeClr val="bg1"/>
              </a:solidFill>
              <a:latin typeface="Calibri" pitchFamily="34" charset="0"/>
            </a:endParaRPr>
          </a:p>
        </p:txBody>
      </p:sp>
      <p:pic>
        <p:nvPicPr>
          <p:cNvPr id="32772" name="Picture 6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526136" y="2331685"/>
            <a:ext cx="3905729" cy="3963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773" name="Picture 7" descr="3-point lock on back door without cover-00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431865" y="2501646"/>
            <a:ext cx="2362369" cy="3543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774" name="Picture 8" descr="3-point lock rear of door-00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61565" y="3245868"/>
            <a:ext cx="4625867" cy="30830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3" name="Title 4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en-US" sz="2800" u="sng" dirty="0" err="1">
                <a:solidFill>
                  <a:schemeClr val="tx1"/>
                </a:solidFill>
              </a:rPr>
              <a:t>ArmaDLock</a:t>
            </a:r>
            <a:endParaRPr lang="he-IL" sz="2800" u="sng" dirty="0">
              <a:solidFill>
                <a:schemeClr val="tx1"/>
              </a:solidFill>
            </a:endParaRPr>
          </a:p>
        </p:txBody>
      </p:sp>
      <p:sp>
        <p:nvSpPr>
          <p:cNvPr id="33794" name="Content Placeholder 6"/>
          <p:cNvSpPr>
            <a:spLocks noGrp="1"/>
          </p:cNvSpPr>
          <p:nvPr>
            <p:ph sz="half" idx="2"/>
          </p:nvPr>
        </p:nvSpPr>
        <p:spPr>
          <a:xfrm>
            <a:off x="479425" y="1177435"/>
            <a:ext cx="6418039" cy="4951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>
              <a:buClr>
                <a:schemeClr val="accent1"/>
              </a:buClr>
              <a:buSzPct val="100000"/>
            </a:pPr>
            <a:r>
              <a:rPr lang="en-US" sz="1400" dirty="0">
                <a:latin typeface="+mj-lt"/>
              </a:rPr>
              <a:t>Robust </a:t>
            </a:r>
            <a:r>
              <a:rPr lang="en-GB" sz="1400" dirty="0">
                <a:latin typeface="+mj-lt"/>
              </a:rPr>
              <a:t>structure prevents opening of the doors</a:t>
            </a:r>
          </a:p>
          <a:p>
            <a:pPr algn="l" rtl="0">
              <a:buClr>
                <a:schemeClr val="accent1"/>
              </a:buClr>
              <a:buSzPct val="100000"/>
            </a:pPr>
            <a:r>
              <a:rPr lang="en-US" sz="1400" dirty="0">
                <a:latin typeface="+mj-lt"/>
              </a:rPr>
              <a:t>Push-to-lock </a:t>
            </a:r>
            <a:r>
              <a:rPr lang="en-GB" sz="1400" dirty="0">
                <a:latin typeface="+mj-lt"/>
              </a:rPr>
              <a:t>(without use of key).</a:t>
            </a:r>
            <a:endParaRPr lang="en-US" sz="1400" dirty="0">
              <a:latin typeface="+mj-lt"/>
            </a:endParaRPr>
          </a:p>
          <a:p>
            <a:pPr algn="l" rtl="0">
              <a:buClr>
                <a:schemeClr val="accent1"/>
              </a:buClr>
              <a:buSzPct val="100000"/>
            </a:pPr>
            <a:r>
              <a:rPr lang="en-US" sz="1400" dirty="0">
                <a:latin typeface="+mj-lt"/>
              </a:rPr>
              <a:t>Universal </a:t>
            </a:r>
            <a:r>
              <a:rPr lang="en-GB" sz="1400" dirty="0">
                <a:latin typeface="+mj-lt"/>
              </a:rPr>
              <a:t>for all of kind of commercial vans</a:t>
            </a:r>
          </a:p>
          <a:p>
            <a:pPr algn="l" rtl="0">
              <a:buClr>
                <a:schemeClr val="accent1"/>
              </a:buClr>
              <a:buSzPct val="100000"/>
            </a:pPr>
            <a:r>
              <a:rPr lang="en-GB" sz="1400" dirty="0">
                <a:latin typeface="+mj-lt"/>
              </a:rPr>
              <a:t>Fast installation</a:t>
            </a:r>
            <a:endParaRPr lang="en-US" sz="1400" dirty="0">
              <a:latin typeface="+mj-lt"/>
            </a:endParaRPr>
          </a:p>
          <a:p>
            <a:pPr algn="l" rtl="0">
              <a:buClr>
                <a:schemeClr val="accent1"/>
              </a:buClr>
              <a:buSzPct val="100000"/>
            </a:pPr>
            <a:r>
              <a:rPr lang="en-GB" sz="1400" dirty="0">
                <a:latin typeface="+mj-lt"/>
              </a:rPr>
              <a:t>Key retaining and key-to-lock versions are possible</a:t>
            </a:r>
          </a:p>
          <a:p>
            <a:pPr algn="l" rtl="0">
              <a:buClr>
                <a:schemeClr val="accent1"/>
              </a:buClr>
              <a:buSzPct val="100000"/>
            </a:pPr>
            <a:r>
              <a:rPr lang="en-GB" sz="1400" dirty="0">
                <a:latin typeface="+mj-lt"/>
              </a:rPr>
              <a:t>Can be used for many other applications</a:t>
            </a:r>
            <a:endParaRPr lang="he-IL" sz="1400" dirty="0">
              <a:latin typeface="+mj-lt"/>
            </a:endParaRPr>
          </a:p>
        </p:txBody>
      </p:sp>
      <p:sp>
        <p:nvSpPr>
          <p:cNvPr id="33795" name="Slide Number Placeholder 3"/>
          <p:cNvSpPr txBox="1">
            <a:spLocks noGrp="1"/>
          </p:cNvSpPr>
          <p:nvPr/>
        </p:nvSpPr>
        <p:spPr bwMode="auto">
          <a:xfrm>
            <a:off x="5837239" y="6543675"/>
            <a:ext cx="51752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rtl="0"/>
            <a:fld id="{B38512CE-4A45-4B91-A274-3DAF5F2C0BDD}" type="slidenum">
              <a:rPr lang="he-IL" sz="1200">
                <a:solidFill>
                  <a:schemeClr val="bg1"/>
                </a:solidFill>
                <a:latin typeface="Calibri" pitchFamily="34" charset="0"/>
              </a:rPr>
              <a:pPr algn="ctr" rtl="0"/>
              <a:t>5</a:t>
            </a:fld>
            <a:endParaRPr lang="en-GB" sz="1200">
              <a:solidFill>
                <a:schemeClr val="bg1"/>
              </a:solidFill>
              <a:latin typeface="Calibri" pitchFamily="34" charset="0"/>
            </a:endParaRPr>
          </a:p>
        </p:txBody>
      </p:sp>
      <p:pic>
        <p:nvPicPr>
          <p:cNvPr id="33796" name="Picture 8" descr="Photo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25684" y="3741918"/>
            <a:ext cx="3117715" cy="23132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797" name="Picture 9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089658" y="4190505"/>
            <a:ext cx="6457981" cy="1938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798" name="Picture 11" descr="DSC0657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055486" y="360014"/>
            <a:ext cx="4629448" cy="34707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LASSIFICATION" val="Confidential"/>
</p:tagLst>
</file>

<file path=ppt/theme/theme1.xml><?xml version="1.0" encoding="utf-8"?>
<a:theme xmlns:a="http://schemas.openxmlformats.org/drawingml/2006/main" name="ASSA ABLOY">
  <a:themeElements>
    <a:clrScheme name="ASSA ABLOY_Colors">
      <a:dk1>
        <a:sysClr val="windowText" lastClr="000000"/>
      </a:dk1>
      <a:lt1>
        <a:sysClr val="window" lastClr="FFFFFF"/>
      </a:lt1>
      <a:dk2>
        <a:srgbClr val="45637A"/>
      </a:dk2>
      <a:lt2>
        <a:srgbClr val="FFFFFF"/>
      </a:lt2>
      <a:accent1>
        <a:srgbClr val="00A0D0"/>
      </a:accent1>
      <a:accent2>
        <a:srgbClr val="C3C4BE"/>
      </a:accent2>
      <a:accent3>
        <a:srgbClr val="45637A"/>
      </a:accent3>
      <a:accent4>
        <a:srgbClr val="A7B8B4"/>
      </a:accent4>
      <a:accent5>
        <a:srgbClr val="70927A"/>
      </a:accent5>
      <a:accent6>
        <a:srgbClr val="80686F"/>
      </a:accent6>
      <a:hlink>
        <a:srgbClr val="45637A"/>
      </a:hlink>
      <a:folHlink>
        <a:srgbClr val="45637A"/>
      </a:folHlink>
    </a:clrScheme>
    <a:fontScheme name="ASSA ABLOY_Colors">
      <a:majorFont>
        <a:latin typeface="Verdana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defRPr sz="14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sz="1400" dirty="0">
            <a:solidFill>
              <a:schemeClr val="tx1">
                <a:lumMod val="75000"/>
                <a:lumOff val="25000"/>
              </a:schemeClr>
            </a:solidFill>
          </a:defRPr>
        </a:defPPr>
      </a:lstStyle>
    </a:txDef>
  </a:objectDefaults>
  <a:extraClrSchemeLst/>
  <a:custClrLst>
    <a:custClr name="ASSA ABLOY Blue">
      <a:srgbClr val="00A0D0"/>
    </a:custClr>
    <a:custClr name="ASSA ABLOY Silver">
      <a:srgbClr val="C3C4BE"/>
    </a:custClr>
    <a:custClr name="ASSA ABLOY Orange">
      <a:srgbClr val="E0684B"/>
    </a:custClr>
    <a:custClr name="ASSA ABLOY Dark Green">
      <a:srgbClr val="70927A"/>
    </a:custClr>
    <a:custClr name="ASSA ABLOY Dark Blue">
      <a:srgbClr val="45637A"/>
    </a:custClr>
    <a:custClr name="ASSA ABLOY Green">
      <a:srgbClr val="A7B8B4"/>
    </a:custClr>
    <a:custClr name="ASSA ABLOY Brown">
      <a:srgbClr val="80686F"/>
    </a:custClr>
    <a:custClr name="ASSA ABLOY Red">
      <a:srgbClr val="983222"/>
    </a:custClr>
    <a:custClr name="ASSA ABLOY Beige">
      <a:srgbClr val="AA9C8F"/>
    </a:custClr>
    <a:custClr name="ASSA ABLOY Yellow">
      <a:srgbClr val="F2DF74"/>
    </a:custClr>
    <a:custClr name="ASSA ABLOY Sustainability Green">
      <a:srgbClr val="689C41"/>
    </a:custClr>
  </a:custClrLst>
  <a:extLst>
    <a:ext uri="{05A4C25C-085E-4340-85A3-A5531E510DB2}">
      <thm15:themeFamily xmlns:thm15="http://schemas.microsoft.com/office/thememl/2012/main" name="ASSA ABLOY.potx" id="{BADE628A-01EE-469D-A7F2-F253814FED85}" vid="{C994CACC-5915-402F-8DC5-2F23D98789EC}"/>
    </a:ext>
  </a:extLst>
</a:theme>
</file>

<file path=ppt/theme/theme2.xml><?xml version="1.0" encoding="utf-8"?>
<a:theme xmlns:a="http://schemas.openxmlformats.org/drawingml/2006/main" name="ערכת נושא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194</TotalTime>
  <Words>180</Words>
  <Application>Microsoft Office PowerPoint</Application>
  <PresentationFormat>מסך רחב</PresentationFormat>
  <Paragraphs>35</Paragraphs>
  <Slides>5</Slides>
  <Notes>1</Notes>
  <HiddenSlides>0</HiddenSlides>
  <MMClips>0</MMClips>
  <ScaleCrop>false</ScaleCrop>
  <HeadingPairs>
    <vt:vector size="8" baseType="variant">
      <vt:variant>
        <vt:lpstr>גופנים בשימוש</vt:lpstr>
      </vt:variant>
      <vt:variant>
        <vt:i4>4</vt:i4>
      </vt:variant>
      <vt:variant>
        <vt:lpstr>ערכת נושא</vt:lpstr>
      </vt:variant>
      <vt:variant>
        <vt:i4>1</vt:i4>
      </vt:variant>
      <vt:variant>
        <vt:lpstr>שרתי OLE מוטבעים</vt:lpstr>
      </vt:variant>
      <vt:variant>
        <vt:i4>1</vt:i4>
      </vt:variant>
      <vt:variant>
        <vt:lpstr>כותרות שקופיות</vt:lpstr>
      </vt:variant>
      <vt:variant>
        <vt:i4>5</vt:i4>
      </vt:variant>
    </vt:vector>
  </HeadingPairs>
  <TitlesOfParts>
    <vt:vector size="11" baseType="lpstr">
      <vt:lpstr>Arial</vt:lpstr>
      <vt:lpstr>Calibri</vt:lpstr>
      <vt:lpstr>Verdana</vt:lpstr>
      <vt:lpstr>Wingdings</vt:lpstr>
      <vt:lpstr>ASSA ABLOY</vt:lpstr>
      <vt:lpstr>think-cell Slide</vt:lpstr>
      <vt:lpstr>מצגת של PowerPoint‏</vt:lpstr>
      <vt:lpstr>מצגת של PowerPoint‏</vt:lpstr>
      <vt:lpstr>מצגת של PowerPoint‏</vt:lpstr>
      <vt:lpstr>Multi-Point locking for rear and side doors</vt:lpstr>
      <vt:lpstr>ArmaDLock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op Mechanical Core short term initiatives for 2022</dc:title>
  <dc:creator>Edelman, Tal</dc:creator>
  <cp:lastModifiedBy>Ferber, Dani</cp:lastModifiedBy>
  <cp:revision>9</cp:revision>
  <dcterms:created xsi:type="dcterms:W3CDTF">2022-09-08T11:07:22Z</dcterms:created>
  <dcterms:modified xsi:type="dcterms:W3CDTF">2022-09-29T15:06:03Z</dcterms:modified>
</cp:coreProperties>
</file>